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6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DF1FD2-4B30-801D-C1C8-9744383830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DDB4E20-E83B-7E8B-DAB0-0053241AF6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B4E20-E83B-7E8B-DAB0-0053241AF6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BCD405-FF39-45CD-8552-BA6B687912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F4AB4F5-9735-2FD3-2612-B88A1DD9988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5C33A53-0735-D2D6-C081-FBC220EBBADB}"/>
              </a:ext>
            </a:extLst>
          </p:cNvPr>
          <p:cNvSpPr/>
          <p:nvPr/>
        </p:nvSpPr>
        <p:spPr>
          <a:xfrm>
            <a:off x="512015" y="1776643"/>
            <a:ext cx="7033361" cy="34667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9434" tIns="39697" rIns="79434" bIns="39697" anchor="ctr" anchorCtr="0">
            <a:noAutofit/>
          </a:bodyPr>
          <a:lstStyle/>
          <a:p>
            <a:pPr algn="ctr"/>
            <a:endParaRPr lang="en-US" sz="2639" dirty="0" err="1">
              <a:solidFill>
                <a:schemeClr val="bg1"/>
              </a:solidFill>
            </a:endParaRPr>
          </a:p>
        </p:txBody>
      </p:sp>
      <p:sp>
        <p:nvSpPr>
          <p:cNvPr id="5" name="Shape 77">
            <a:extLst>
              <a:ext uri="{FF2B5EF4-FFF2-40B4-BE49-F238E27FC236}">
                <a16:creationId xmlns:a16="http://schemas.microsoft.com/office/drawing/2014/main" id="{28A457AB-0A85-0471-025D-8259599135E7}"/>
              </a:ext>
            </a:extLst>
          </p:cNvPr>
          <p:cNvSpPr/>
          <p:nvPr/>
        </p:nvSpPr>
        <p:spPr>
          <a:xfrm>
            <a:off x="1087283" y="1795395"/>
            <a:ext cx="528469" cy="14857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IN" altLang="en-US" sz="9655" b="1" dirty="0">
                <a:solidFill>
                  <a:schemeClr val="bg1"/>
                </a:solidFill>
                <a:ea typeface="Helvetica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6" name="Shape 77">
            <a:extLst>
              <a:ext uri="{FF2B5EF4-FFF2-40B4-BE49-F238E27FC236}">
                <a16:creationId xmlns:a16="http://schemas.microsoft.com/office/drawing/2014/main" id="{BF0DFE93-73C9-D01E-132D-5242741B856B}"/>
              </a:ext>
            </a:extLst>
          </p:cNvPr>
          <p:cNvSpPr/>
          <p:nvPr/>
        </p:nvSpPr>
        <p:spPr>
          <a:xfrm rot="10800000">
            <a:off x="6626866" y="3838804"/>
            <a:ext cx="507148" cy="14857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IN" altLang="en-US" sz="9655" b="1" dirty="0">
                <a:solidFill>
                  <a:schemeClr val="bg1"/>
                </a:solidFill>
                <a:ea typeface="Helvetica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7" name="Shape6_20220317_114739">
            <a:extLst>
              <a:ext uri="{FF2B5EF4-FFF2-40B4-BE49-F238E27FC236}">
                <a16:creationId xmlns:a16="http://schemas.microsoft.com/office/drawing/2014/main" id="{C8914149-B843-1494-1B82-F9F9762A0C11}"/>
              </a:ext>
            </a:extLst>
          </p:cNvPr>
          <p:cNvSpPr/>
          <p:nvPr/>
        </p:nvSpPr>
        <p:spPr>
          <a:xfrm>
            <a:off x="7545376" y="1556721"/>
            <a:ext cx="4031603" cy="3908457"/>
          </a:xfrm>
          <a:prstGeom prst="rect">
            <a:avLst/>
          </a:prstGeom>
          <a:noFill/>
          <a:ln w="28575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193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Shape0_20220426_142447">
            <a:extLst>
              <a:ext uri="{FF2B5EF4-FFF2-40B4-BE49-F238E27FC236}">
                <a16:creationId xmlns:a16="http://schemas.microsoft.com/office/drawing/2014/main" id="{C9643D60-9BB5-D7CE-9978-CDA99F530DF0}"/>
              </a:ext>
            </a:extLst>
          </p:cNvPr>
          <p:cNvSpPr/>
          <p:nvPr/>
        </p:nvSpPr>
        <p:spPr>
          <a:xfrm>
            <a:off x="7451633" y="1461632"/>
            <a:ext cx="253709" cy="262215"/>
          </a:xfrm>
          <a:custGeom>
            <a:avLst/>
            <a:gdLst>
              <a:gd name="connsiteX0" fmla="*/ 0 w 207169"/>
              <a:gd name="connsiteY0" fmla="*/ 214313 h 214313"/>
              <a:gd name="connsiteX1" fmla="*/ 0 w 207169"/>
              <a:gd name="connsiteY1" fmla="*/ 0 h 214313"/>
              <a:gd name="connsiteX2" fmla="*/ 207169 w 207169"/>
              <a:gd name="connsiteY2" fmla="*/ 0 h 21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7169" h="214313">
                <a:moveTo>
                  <a:pt x="0" y="214313"/>
                </a:moveTo>
                <a:lnTo>
                  <a:pt x="0" y="0"/>
                </a:lnTo>
                <a:lnTo>
                  <a:pt x="207169" y="0"/>
                </a:lnTo>
              </a:path>
            </a:pathLst>
          </a:cu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7153" tIns="73574" rIns="147153" bIns="735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IN" sz="193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" name="Shape1_20220426_142447">
            <a:extLst>
              <a:ext uri="{FF2B5EF4-FFF2-40B4-BE49-F238E27FC236}">
                <a16:creationId xmlns:a16="http://schemas.microsoft.com/office/drawing/2014/main" id="{7F0CC7D6-825E-5AD3-9B0D-6CC5154D7C5B}"/>
              </a:ext>
            </a:extLst>
          </p:cNvPr>
          <p:cNvSpPr/>
          <p:nvPr/>
        </p:nvSpPr>
        <p:spPr>
          <a:xfrm flipH="1" flipV="1">
            <a:off x="11416586" y="5296198"/>
            <a:ext cx="253709" cy="262215"/>
          </a:xfrm>
          <a:custGeom>
            <a:avLst/>
            <a:gdLst>
              <a:gd name="connsiteX0" fmla="*/ 0 w 207169"/>
              <a:gd name="connsiteY0" fmla="*/ 214313 h 214313"/>
              <a:gd name="connsiteX1" fmla="*/ 0 w 207169"/>
              <a:gd name="connsiteY1" fmla="*/ 0 h 214313"/>
              <a:gd name="connsiteX2" fmla="*/ 207169 w 207169"/>
              <a:gd name="connsiteY2" fmla="*/ 0 h 21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7169" h="214313">
                <a:moveTo>
                  <a:pt x="0" y="214313"/>
                </a:moveTo>
                <a:lnTo>
                  <a:pt x="0" y="0"/>
                </a:lnTo>
                <a:lnTo>
                  <a:pt x="207169" y="0"/>
                </a:lnTo>
              </a:path>
            </a:pathLst>
          </a:cu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7153" tIns="73574" rIns="147153" bIns="735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IN" sz="193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BE747EA-B069-4BC3-80DA-53BEA4D5A9F3}"/>
              </a:ext>
            </a:extLst>
          </p:cNvPr>
          <p:cNvSpPr/>
          <p:nvPr/>
        </p:nvSpPr>
        <p:spPr>
          <a:xfrm>
            <a:off x="1204888" y="3309960"/>
            <a:ext cx="5344725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chemeClr val="bg1"/>
                </a:solidFill>
                <a:cs typeface="Arial" panose="020B0604020202020204" pitchFamily="34" charset="0"/>
              </a:rPr>
              <a:t>Insert Quote Here</a:t>
            </a:r>
          </a:p>
        </p:txBody>
      </p:sp>
    </p:spTree>
    <p:extLst>
      <p:ext uri="{BB962C8B-B14F-4D97-AF65-F5344CB8AC3E}">
        <p14:creationId xmlns:p14="http://schemas.microsoft.com/office/powerpoint/2010/main" val="191170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6</TotalTime>
  <Words>7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Helvetica</vt:lpstr>
      <vt:lpstr>Roboto</vt:lpstr>
      <vt:lpstr>Wingdings</vt:lpstr>
      <vt:lpstr>Office Theme</vt:lpstr>
      <vt:lpstr>think-cell Slide</vt:lpstr>
      <vt:lpstr>Quot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35</cp:revision>
  <dcterms:created xsi:type="dcterms:W3CDTF">2021-03-31T02:49:57Z</dcterms:created>
  <dcterms:modified xsi:type="dcterms:W3CDTF">2025-10-16T10:48:15Z</dcterms:modified>
  <cp:category/>
</cp:coreProperties>
</file>